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charts/chart16.xml" ContentType="application/vnd.openxmlformats-officedocument.drawingml.chart+xml"/>
  <Override PartName="/ppt/tags/tag50.xml" ContentType="application/vnd.openxmlformats-officedocument.presentationml.tags+xml"/>
  <Override PartName="/ppt/charts/chart17.xml" ContentType="application/vnd.openxmlformats-officedocument.drawingml.chart+xml"/>
  <Override PartName="/ppt/tags/tag51.xml" ContentType="application/vnd.openxmlformats-officedocument.presentationml.tags+xml"/>
  <Override PartName="/ppt/charts/chart18.xml" ContentType="application/vnd.openxmlformats-officedocument.drawingml.chart+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3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C2FE1F9D-5789-4563-B370-156812179702}">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Lst>
        </p14:section>
        <p14:section name="Sectors Share and Growth By Brands" id="{FAD25FAB-B31A-4AE6-A804-AD7DC71AE18D}">
          <p14:sldIdLst>
            <p14:sldId id="2147477380"/>
            <p14:sldId id="2147477381"/>
            <p14:sldId id="2147477382"/>
          </p14:sldIdLst>
        </p14:section>
        <p14:section name="Segments Share and Growth By Brands" id="{D539E2BF-8C90-4842-87A0-35A64759F810}">
          <p14:sldIdLst>
            <p14:sldId id="2147477383"/>
            <p14:sldId id="2147477384"/>
            <p14:sldId id="2147477385"/>
          </p14:sldIdLst>
        </p14:section>
        <p14:section name="Price Point Distribution Analysis By Brand" id="{58328C30-4587-4268-A228-91BD3738CEF4}">
          <p14:sldIdLst>
            <p14:sldId id="2147477386"/>
            <p14:sldId id="2147477387"/>
            <p14:sldId id="2147477388"/>
            <p14:sldId id="2147477389"/>
            <p14:sldId id="2147477390"/>
            <p14:sldId id="2147477391"/>
            <p14:sldId id="2147477392"/>
            <p14:sldId id="2147477393"/>
            <p14:sldId id="2147477394"/>
            <p14:sldId id="2147477395"/>
            <p14:sldId id="214747739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613703C-116A-4B14-9BAB-000E4F49E6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27F70A-A234-4A73-AA73-915794EF1B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3185FE1-1468-48ED-874A-C48AB5FADF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FDC3E75-64B0-441C-90B0-B6E8D178F8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182EDAA-6D5E-4D3D-8EAA-8CEC0B4BA6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621BD6A-12F9-4CF4-8604-94B710774F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1E02F47-6FDA-40BB-B058-0D691E20D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3D02E6-02D9-4A86-AC4A-2BB097E0F9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812899999999999</c:v>
                </c:pt>
                <c:pt idx="1">
                  <c:v>12.4175</c:v>
                </c:pt>
                <c:pt idx="2">
                  <c:v>6.0914999999999999</c:v>
                </c:pt>
                <c:pt idx="3">
                  <c:v>10.7544</c:v>
                </c:pt>
                <c:pt idx="4">
                  <c:v>4.9539</c:v>
                </c:pt>
                <c:pt idx="5">
                  <c:v>4.1436000000000002</c:v>
                </c:pt>
                <c:pt idx="6">
                  <c:v>9.5934000000000008</c:v>
                </c:pt>
              </c:numCache>
            </c:numRef>
          </c:xVal>
          <c:yVal>
            <c:numRef>
              <c:f>Sheet1!$B$2:$B$8</c:f>
              <c:numCache>
                <c:formatCode>General</c:formatCode>
                <c:ptCount val="7"/>
                <c:pt idx="0">
                  <c:v>1.321</c:v>
                </c:pt>
                <c:pt idx="1">
                  <c:v>1.44</c:v>
                </c:pt>
                <c:pt idx="2">
                  <c:v>0.55300000000000005</c:v>
                </c:pt>
                <c:pt idx="3">
                  <c:v>0.77100000000000002</c:v>
                </c:pt>
                <c:pt idx="4">
                  <c:v>0.46200000000000002</c:v>
                </c:pt>
                <c:pt idx="5">
                  <c:v>0.36899999999999999</c:v>
                </c:pt>
                <c:pt idx="6">
                  <c:v>1.512</c:v>
                </c:pt>
              </c:numCache>
            </c:numRef>
          </c:yVal>
          <c:bubbleSize>
            <c:numRef>
              <c:f>Sheet1!$C$2:$C$8</c:f>
              <c:numCache>
                <c:formatCode>General</c:formatCode>
                <c:ptCount val="7"/>
                <c:pt idx="0">
                  <c:v>972086869</c:v>
                </c:pt>
                <c:pt idx="1">
                  <c:v>184811438</c:v>
                </c:pt>
                <c:pt idx="2">
                  <c:v>126968743</c:v>
                </c:pt>
                <c:pt idx="3">
                  <c:v>114853020</c:v>
                </c:pt>
                <c:pt idx="4">
                  <c:v>36884480</c:v>
                </c:pt>
                <c:pt idx="5">
                  <c:v>35079369</c:v>
                </c:pt>
                <c:pt idx="6">
                  <c:v>31033081</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788DE6B-97BF-47EE-B540-56D83D558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50DB9D-DE6F-4AE9-AA00-6D8734634A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079F563-CB0F-4255-95B3-E9311B33B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CA0B21D-9AAC-4398-BAA5-9C012473C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0C6C4BE-9204-4C4E-ABB7-E84B2FDC9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36606DF-39E3-47BB-B923-0226CB4B1D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B5CA33-D232-443D-AAF6-0BB278177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435BC2-2325-40B6-9552-9BC6EF542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14499999999999</c:v>
                </c:pt>
                <c:pt idx="1">
                  <c:v>12.489800000000001</c:v>
                </c:pt>
                <c:pt idx="2">
                  <c:v>10.9337</c:v>
                </c:pt>
                <c:pt idx="3">
                  <c:v>9.1037999999999997</c:v>
                </c:pt>
                <c:pt idx="4">
                  <c:v>18.031400000000001</c:v>
                </c:pt>
                <c:pt idx="5">
                  <c:v>8.3902999999999999</c:v>
                </c:pt>
              </c:numCache>
            </c:numRef>
          </c:xVal>
          <c:yVal>
            <c:numRef>
              <c:f>Sheet1!$B$2:$B$7</c:f>
              <c:numCache>
                <c:formatCode>General</c:formatCode>
                <c:ptCount val="6"/>
                <c:pt idx="0">
                  <c:v>1.157</c:v>
                </c:pt>
                <c:pt idx="1">
                  <c:v>0.86799999999999999</c:v>
                </c:pt>
                <c:pt idx="2">
                  <c:v>0.63200000000000001</c:v>
                </c:pt>
                <c:pt idx="3">
                  <c:v>0.91400000000000003</c:v>
                </c:pt>
                <c:pt idx="4">
                  <c:v>0.73899999999999999</c:v>
                </c:pt>
                <c:pt idx="5">
                  <c:v>0.65200000000000002</c:v>
                </c:pt>
              </c:numCache>
            </c:numRef>
          </c:yVal>
          <c:bubbleSize>
            <c:numRef>
              <c:f>Sheet1!$C$2:$C$7</c:f>
              <c:numCache>
                <c:formatCode>General</c:formatCode>
                <c:ptCount val="6"/>
                <c:pt idx="0">
                  <c:v>217880579</c:v>
                </c:pt>
                <c:pt idx="1">
                  <c:v>65466766</c:v>
                </c:pt>
                <c:pt idx="2">
                  <c:v>20499734</c:v>
                </c:pt>
                <c:pt idx="3">
                  <c:v>13711128</c:v>
                </c:pt>
                <c:pt idx="4">
                  <c:v>6491139</c:v>
                </c:pt>
                <c:pt idx="5">
                  <c:v>385552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3952AD-659E-437B-8388-77BC507D7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731FEE3-9A39-4C7B-8821-D80D607D2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DE337D49-FFA6-43DA-AF4F-D0C088DA15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9B05338-4315-4A51-968D-D460FD361D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A6B5A4-FC43-4774-8515-E1DEC8B26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AFBA915-BFFF-4DE9-8279-698E0E9FA5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4B04C71-7E32-47B8-88D9-F0ECAC76C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697294D-4617-4662-8571-63E52B18F2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211B27-C719-4AEC-B0FD-89559EB72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4D6F98-D091-432D-B523-323F2E778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C205A07-A7D8-4C7D-B17F-416677293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5AE2B5A-772B-4305-8ACF-4048EB421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09C493A-9C63-4379-897D-A80200A3D3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3210864-A46C-4E08-A090-90530CC76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5E60AC8-269F-4BC1-B0A0-13236E2E4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AA7EC08-8F7E-4BBA-AE54-8408E7B32F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5841999999999992</c:v>
                </c:pt>
                <c:pt idx="3">
                  <c:v>8.9646000000000008</c:v>
                </c:pt>
                <c:pt idx="4">
                  <c:v>17.959800000000001</c:v>
                </c:pt>
                <c:pt idx="5">
                  <c:v>8.4400999999999993</c:v>
                </c:pt>
              </c:numCache>
            </c:numRef>
          </c:xVal>
          <c:yVal>
            <c:numRef>
              <c:f>Sheet1!$B$2:$B$7</c:f>
              <c:numCache>
                <c:formatCode>General</c:formatCode>
                <c:ptCount val="6"/>
                <c:pt idx="0">
                  <c:v>1.105</c:v>
                </c:pt>
                <c:pt idx="1">
                  <c:v>0.90900000000000003</c:v>
                </c:pt>
                <c:pt idx="2">
                  <c:v>0.66600000000000004</c:v>
                </c:pt>
                <c:pt idx="3">
                  <c:v>0.94</c:v>
                </c:pt>
                <c:pt idx="4">
                  <c:v>0.753</c:v>
                </c:pt>
                <c:pt idx="5">
                  <c:v>0.88500000000000001</c:v>
                </c:pt>
              </c:numCache>
            </c:numRef>
          </c:yVal>
          <c:bubbleSize>
            <c:numRef>
              <c:f>Sheet1!$C$2:$C$7</c:f>
              <c:numCache>
                <c:formatCode>General</c:formatCode>
                <c:ptCount val="6"/>
                <c:pt idx="0">
                  <c:v>71368823</c:v>
                </c:pt>
                <c:pt idx="1">
                  <c:v>22258475</c:v>
                </c:pt>
                <c:pt idx="2">
                  <c:v>5660351</c:v>
                </c:pt>
                <c:pt idx="3">
                  <c:v>5016932</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33E6633-500E-4064-A7FD-FCFD2CC6C6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0A38AB8-C896-4FF6-A589-BBB8C1E80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7447281-F832-4BDA-8BE3-4B79750D52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353F976-C659-40F4-BC55-7FF4D6E62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394F19-FCDA-40F6-BFB7-B25635B4F1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DE3DD8-F5EE-4AA6-817A-EC61626580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01F99D1-9812-45DD-BB06-D2E1E000E6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202314A-51EC-4AAD-8C11-979CCD17E4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4.557099999999998</c:v>
                </c:pt>
                <c:pt idx="1">
                  <c:v>12.683999999999999</c:v>
                </c:pt>
                <c:pt idx="2">
                  <c:v>17.270099999999999</c:v>
                </c:pt>
                <c:pt idx="3">
                  <c:v>10.02</c:v>
                </c:pt>
                <c:pt idx="4">
                  <c:v>10.835599999999999</c:v>
                </c:pt>
                <c:pt idx="5">
                  <c:v>8.0243000000000002</c:v>
                </c:pt>
              </c:numCache>
            </c:numRef>
          </c:xVal>
          <c:yVal>
            <c:numRef>
              <c:f>Sheet1!$B$2:$B$7</c:f>
              <c:numCache>
                <c:formatCode>General</c:formatCode>
                <c:ptCount val="6"/>
                <c:pt idx="0">
                  <c:v>1.2</c:v>
                </c:pt>
                <c:pt idx="1">
                  <c:v>0.81100000000000005</c:v>
                </c:pt>
                <c:pt idx="2">
                  <c:v>0.79900000000000004</c:v>
                </c:pt>
                <c:pt idx="3">
                  <c:v>0.77600000000000002</c:v>
                </c:pt>
                <c:pt idx="4">
                  <c:v>0.72299999999999998</c:v>
                </c:pt>
                <c:pt idx="5">
                  <c:v>0.47099999999999997</c:v>
                </c:pt>
              </c:numCache>
            </c:numRef>
          </c:yVal>
          <c:bubbleSize>
            <c:numRef>
              <c:f>Sheet1!$C$2:$C$7</c:f>
              <c:numCache>
                <c:formatCode>General</c:formatCode>
                <c:ptCount val="6"/>
                <c:pt idx="0">
                  <c:v>503759226</c:v>
                </c:pt>
                <c:pt idx="1">
                  <c:v>116928743</c:v>
                </c:pt>
                <c:pt idx="2">
                  <c:v>28880007</c:v>
                </c:pt>
                <c:pt idx="3">
                  <c:v>17321953</c:v>
                </c:pt>
                <c:pt idx="4">
                  <c:v>7619052</c:v>
                </c:pt>
                <c:pt idx="5">
                  <c:v>720966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31AF47-3F22-4A24-9F69-C4BD96744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10A53C9B-F769-48C7-B7C1-26C7BF965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BE3F133B-5EC6-4A90-91DA-DC20F1B2F3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CC915C0-69E8-4540-9FA2-7101E4F27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0DB71F-1570-479D-B3CA-8B43CC015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54C5D33-8009-4140-88FE-63DF96116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992C54B-3F37-40DE-847A-E410A8EF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DDB5D3A-BB30-426E-8359-06FF0A665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5E6BD1-357A-4885-AAE2-2468C7B34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7161CD-02D4-4A09-8E94-5A91DDD33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7B89DF9-27E7-4DCF-ABCF-5CB8FC5AD2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8E778CD-FB7F-4377-AC47-4257401B41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A2954B7-C18C-462E-9FE2-364D79079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9E0B5D4-3E1B-472D-86BD-3DCD1D152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99D3C4-7CCC-4A3B-BA6B-033CA7C7A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1193B72-3A37-4463-A343-45E0DC147B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675</c:v>
                </c:pt>
                <c:pt idx="3">
                  <c:v>11.0657</c:v>
                </c:pt>
                <c:pt idx="4">
                  <c:v>10.835800000000001</c:v>
                </c:pt>
                <c:pt idx="5">
                  <c:v>2.9802</c:v>
                </c:pt>
              </c:numCache>
            </c:numRef>
          </c:xVal>
          <c:yVal>
            <c:numRef>
              <c:f>Sheet1!$B$2:$B$7</c:f>
              <c:numCache>
                <c:formatCode>General</c:formatCode>
                <c:ptCount val="6"/>
                <c:pt idx="0">
                  <c:v>1.3759999999999999</c:v>
                </c:pt>
                <c:pt idx="1">
                  <c:v>0.86699999999999999</c:v>
                </c:pt>
                <c:pt idx="2">
                  <c:v>0.879</c:v>
                </c:pt>
                <c:pt idx="3">
                  <c:v>0.83</c:v>
                </c:pt>
                <c:pt idx="4">
                  <c:v>0.78200000000000003</c:v>
                </c:pt>
                <c:pt idx="5">
                  <c:v>0.113</c:v>
                </c:pt>
              </c:numCache>
            </c:numRef>
          </c:yVal>
          <c:bubbleSize>
            <c:numRef>
              <c:f>Sheet1!$C$2:$C$7</c:f>
              <c:numCache>
                <c:formatCode>General</c:formatCode>
                <c:ptCount val="6"/>
                <c:pt idx="0">
                  <c:v>118612654</c:v>
                </c:pt>
                <c:pt idx="1">
                  <c:v>46786767</c:v>
                </c:pt>
                <c:pt idx="2">
                  <c:v>8886004</c:v>
                </c:pt>
                <c:pt idx="3">
                  <c:v>7744389</c:v>
                </c:pt>
                <c:pt idx="4">
                  <c:v>7538613</c:v>
                </c:pt>
                <c:pt idx="5">
                  <c:v>259742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B$2:$B$5</c:f>
              <c:numCache>
                <c:formatCode>General</c:formatCode>
                <c:ptCount val="4"/>
                <c:pt idx="0">
                  <c:v>13.63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C$2:$C$5</c:f>
              <c:numCache>
                <c:formatCode>General</c:formatCode>
                <c:ptCount val="4"/>
                <c:pt idx="0">
                  <c:v>21.661100000000001</c:v>
                </c:pt>
                <c:pt idx="1">
                  <c:v>24.325600000000001</c:v>
                </c:pt>
                <c:pt idx="2">
                  <c:v>4.585</c:v>
                </c:pt>
                <c:pt idx="3">
                  <c:v>11.39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D$2:$D$5</c:f>
              <c:numCache>
                <c:formatCode>General</c:formatCode>
                <c:ptCount val="4"/>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E$2:$E$5</c:f>
              <c:numCache>
                <c:formatCode>General</c:formatCode>
                <c:ptCount val="4"/>
                <c:pt idx="0">
                  <c:v>27.7345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F$2:$F$5</c:f>
              <c:numCache>
                <c:formatCode>General</c:formatCode>
                <c:ptCount val="4"/>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G$2:$G$5</c:f>
              <c:numCache>
                <c:formatCode>General</c:formatCode>
                <c:ptCount val="4"/>
                <c:pt idx="0">
                  <c:v>12.435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H$2:$H$5</c:f>
              <c:numCache>
                <c:formatCode>General</c:formatCode>
                <c:ptCount val="4"/>
                <c:pt idx="0">
                  <c:v>36.7325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I$2:$I$5</c:f>
              <c:numCache>
                <c:formatCode>General</c:formatCode>
                <c:ptCount val="4"/>
                <c:pt idx="0">
                  <c:v>12.6982</c:v>
                </c:pt>
                <c:pt idx="1">
                  <c:v>10.814399999999999</c:v>
                </c:pt>
                <c:pt idx="2">
                  <c:v>6.1608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J$2:$J$5</c:f>
              <c:numCache>
                <c:formatCode>General</c:formatCode>
                <c:ptCount val="4"/>
                <c:pt idx="0">
                  <c:v>7.3722000000000003</c:v>
                </c:pt>
                <c:pt idx="2">
                  <c:v>6.5880000000000001</c:v>
                </c:pt>
                <c:pt idx="3">
                  <c:v>9.946400000000000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2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K$2:$K$5</c:f>
              <c:numCache>
                <c:formatCode>General</c:formatCode>
                <c:ptCount val="4"/>
                <c:pt idx="0">
                  <c:v>31.2641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L$2:$L$5</c:f>
              <c:numCache>
                <c:formatCode>General</c:formatCode>
                <c:ptCount val="4"/>
                <c:pt idx="0">
                  <c:v>19.234999999999999</c:v>
                </c:pt>
                <c:pt idx="1">
                  <c:v>16.7757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6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Bic</c:v>
                </c:pt>
                <c:pt idx="3">
                  <c:v>Schick</c:v>
                </c:pt>
              </c:strCache>
            </c:strRef>
          </c:cat>
          <c:val>
            <c:numRef>
              <c:f>Sheet1!$M$2:$M$5</c:f>
              <c:numCache>
                <c:formatCode>General</c:formatCode>
                <c:ptCount val="4"/>
                <c:pt idx="0">
                  <c:v>20.0851000000000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Bic</c:v>
                </c:pt>
                <c:pt idx="3">
                  <c:v>Schick</c:v>
                </c:pt>
              </c:strCache>
            </c:strRef>
          </c:cat>
          <c:val>
            <c:numRef>
              <c:f>Sheet1!$N$2:$N$5</c:f>
              <c:numCache>
                <c:formatCode>General</c:formatCode>
                <c:ptCount val="4"/>
                <c:pt idx="0">
                  <c:v>25.250299999999999</c:v>
                </c:pt>
                <c:pt idx="1">
                  <c:v>16.735199999999999</c:v>
                </c:pt>
                <c:pt idx="3">
                  <c:v>11.5114</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Gillette</c:v>
                </c:pt>
                <c:pt idx="1">
                  <c:v>Harry's</c:v>
                </c:pt>
              </c:strCache>
            </c:strRef>
          </c:cat>
          <c:val>
            <c:numRef>
              <c:f>Sheet1!$B$2:$B$3</c:f>
              <c:numCache>
                <c:formatCode>General</c:formatCode>
                <c:ptCount val="2"/>
                <c:pt idx="1">
                  <c:v>23.1167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6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C$2:$C$3</c:f>
              <c:numCache>
                <c:formatCode>General</c:formatCode>
                <c:ptCount val="2"/>
                <c:pt idx="0">
                  <c:v>39.5174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4CT</c:v>
                </c:pt>
              </c:strCache>
            </c:strRef>
          </c:tx>
          <c:spPr>
            <a:ln w="19050">
              <a:noFill/>
            </a:ln>
          </c:spPr>
          <c:marker>
            <c:symbol val="dash"/>
            <c:size val="20"/>
            <c:spPr>
              <a:solidFill>
                <a:srgbClr val="CC66FF"/>
              </a:solidFill>
              <a:ln w="9525">
                <a:noFill/>
              </a:ln>
              <a:effectLst/>
            </c:spPr>
          </c:marker>
          <c:cat>
            <c:strRef>
              <c:f>Sheet1!$A$2:$A$3</c:f>
              <c:strCache>
                <c:ptCount val="2"/>
                <c:pt idx="0">
                  <c:v>Gillette</c:v>
                </c:pt>
                <c:pt idx="1">
                  <c:v>Harry's</c:v>
                </c:pt>
              </c:strCache>
            </c:strRef>
          </c:cat>
          <c:val>
            <c:numRef>
              <c:f>Sheet1!$D$2:$D$3</c:f>
              <c:numCache>
                <c:formatCode>General</c:formatCode>
                <c:ptCount val="2"/>
                <c:pt idx="0">
                  <c:v>22.1710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2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Gillette</c:v>
                </c:pt>
                <c:pt idx="1">
                  <c:v>Harry's</c:v>
                </c:pt>
              </c:strCache>
            </c:strRef>
          </c:cat>
          <c:val>
            <c:numRef>
              <c:f>Sheet1!$E$2:$E$3</c:f>
              <c:numCache>
                <c:formatCode>General</c:formatCode>
                <c:ptCount val="2"/>
                <c:pt idx="0">
                  <c:v>31.72520000000000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B$2:$B$7</c:f>
              <c:numCache>
                <c:formatCode>General</c:formatCode>
                <c:ptCount val="6"/>
                <c:pt idx="0">
                  <c:v>11.4547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C$2:$C$7</c:f>
              <c:numCache>
                <c:formatCode>General</c:formatCode>
                <c:ptCount val="6"/>
                <c:pt idx="0">
                  <c:v>18.202500000000001</c:v>
                </c:pt>
                <c:pt idx="1">
                  <c:v>23.9633</c:v>
                </c:pt>
                <c:pt idx="2">
                  <c:v>5.1855000000000002</c:v>
                </c:pt>
                <c:pt idx="4">
                  <c:v>10.536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D$2:$D$7</c:f>
              <c:numCache>
                <c:formatCode>General</c:formatCode>
                <c:ptCount val="6"/>
                <c:pt idx="0">
                  <c:v>18.41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E$2:$E$7</c:f>
              <c:numCache>
                <c:formatCode>General</c:formatCode>
                <c:ptCount val="6"/>
                <c:pt idx="0">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F$2:$F$7</c:f>
              <c:numCache>
                <c:formatCode>General</c:formatCode>
                <c:ptCount val="6"/>
                <c:pt idx="0">
                  <c:v>14.111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G$2:$G$7</c:f>
              <c:numCache>
                <c:formatCode>General</c:formatCode>
                <c:ptCount val="6"/>
                <c:pt idx="0">
                  <c:v>20.06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H$2:$H$7</c:f>
              <c:numCache>
                <c:formatCode>General</c:formatCode>
                <c:ptCount val="6"/>
                <c:pt idx="0">
                  <c:v>12.264699999999999</c:v>
                </c:pt>
                <c:pt idx="1">
                  <c:v>11.0337</c:v>
                </c:pt>
                <c:pt idx="2">
                  <c:v>6.0476999999999999</c:v>
                </c:pt>
                <c:pt idx="5">
                  <c:v>8.964499999999999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I$2:$I$7</c:f>
              <c:numCache>
                <c:formatCode>General</c:formatCode>
                <c:ptCount val="6"/>
                <c:pt idx="0">
                  <c:v>7.3235000000000001</c:v>
                </c:pt>
                <c:pt idx="3">
                  <c:v>5.0484</c:v>
                </c:pt>
                <c:pt idx="4">
                  <c:v>9.5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J$2:$J$7</c:f>
              <c:numCache>
                <c:formatCode>General</c:formatCode>
                <c:ptCount val="6"/>
                <c:pt idx="0">
                  <c:v>23.432600000000001</c:v>
                </c:pt>
                <c:pt idx="1">
                  <c:v>16.1880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K$2:$K$7</c:f>
              <c:numCache>
                <c:formatCode>General</c:formatCode>
                <c:ptCount val="6"/>
                <c:pt idx="0">
                  <c:v>19.9968</c:v>
                </c:pt>
                <c:pt idx="4">
                  <c:v>14.589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7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Gillette</c:v>
                </c:pt>
                <c:pt idx="1">
                  <c:v>Harry's</c:v>
                </c:pt>
                <c:pt idx="2">
                  <c:v>Bic</c:v>
                </c:pt>
                <c:pt idx="3">
                  <c:v>Equate</c:v>
                </c:pt>
                <c:pt idx="4">
                  <c:v>Schick</c:v>
                </c:pt>
                <c:pt idx="5">
                  <c:v>Dollar Shave Club</c:v>
                </c:pt>
              </c:strCache>
            </c:strRef>
          </c:cat>
          <c:val>
            <c:numRef>
              <c:f>Sheet1!$L$2:$L$7</c:f>
              <c:numCache>
                <c:formatCode>General</c:formatCode>
                <c:ptCount val="6"/>
                <c:pt idx="0">
                  <c:v>25.356000000000002</c:v>
                </c:pt>
                <c:pt idx="2">
                  <c:v>12.101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Gillette</c:v>
                </c:pt>
                <c:pt idx="1">
                  <c:v>Harry's</c:v>
                </c:pt>
                <c:pt idx="2">
                  <c:v>Bic</c:v>
                </c:pt>
                <c:pt idx="3">
                  <c:v>Equate</c:v>
                </c:pt>
                <c:pt idx="4">
                  <c:v>Schick</c:v>
                </c:pt>
                <c:pt idx="5">
                  <c:v>Dollar Shave Club</c:v>
                </c:pt>
              </c:strCache>
            </c:strRef>
          </c:cat>
          <c:val>
            <c:numRef>
              <c:f>Sheet1!$M$2:$M$7</c:f>
              <c:numCache>
                <c:formatCode>General</c:formatCode>
                <c:ptCount val="6"/>
                <c:pt idx="1">
                  <c:v>16.609000000000002</c:v>
                </c:pt>
                <c:pt idx="3">
                  <c:v>7.8026</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B$2:$B$5</c:f>
              <c:numCache>
                <c:formatCode>General</c:formatCode>
                <c:ptCount val="4"/>
                <c:pt idx="0">
                  <c:v>27.0196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C$2:$C$5</c:f>
              <c:numCache>
                <c:formatCode>General</c:formatCode>
                <c:ptCount val="4"/>
                <c:pt idx="0">
                  <c:v>39.3748</c:v>
                </c:pt>
                <c:pt idx="1">
                  <c:v>24.325600000000001</c:v>
                </c:pt>
                <c:pt idx="2">
                  <c:v>25.8588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D$2:$D$5</c:f>
              <c:numCache>
                <c:formatCode>General</c:formatCode>
                <c:ptCount val="4"/>
                <c:pt idx="0">
                  <c:v>41.50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E$2:$E$5</c:f>
              <c:numCache>
                <c:formatCode>General</c:formatCode>
                <c:ptCount val="4"/>
                <c:pt idx="0">
                  <c:v>35.7867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F$2:$F$5</c:f>
              <c:numCache>
                <c:formatCode>General</c:formatCode>
                <c:ptCount val="4"/>
                <c:pt idx="0">
                  <c:v>39.3269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G$2:$G$5</c:f>
              <c:numCache>
                <c:formatCode>General</c:formatCode>
                <c:ptCount val="4"/>
                <c:pt idx="0">
                  <c:v>12.851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H$2:$H$5</c:f>
              <c:numCache>
                <c:formatCode>General</c:formatCode>
                <c:ptCount val="4"/>
                <c:pt idx="0">
                  <c:v>36.7325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I$2:$I$5</c:f>
              <c:numCache>
                <c:formatCode>General</c:formatCode>
                <c:ptCount val="4"/>
                <c:pt idx="0">
                  <c:v>13.165900000000001</c:v>
                </c:pt>
                <c:pt idx="1">
                  <c:v>10.814399999999999</c:v>
                </c:pt>
                <c:pt idx="3">
                  <c:v>9.103799999999999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J$2:$J$5</c:f>
              <c:numCache>
                <c:formatCode>General</c:formatCode>
                <c:ptCount val="4"/>
                <c:pt idx="2">
                  <c:v>10.16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K$2:$K$5</c:f>
              <c:numCache>
                <c:formatCode>General</c:formatCode>
                <c:ptCount val="4"/>
                <c:pt idx="0">
                  <c:v>23.482399999999998</c:v>
                </c:pt>
                <c:pt idx="1">
                  <c:v>16.7757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6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Dollar Shave Club</c:v>
                </c:pt>
              </c:strCache>
            </c:strRef>
          </c:cat>
          <c:val>
            <c:numRef>
              <c:f>Sheet1!$L$2:$L$5</c:f>
              <c:numCache>
                <c:formatCode>General</c:formatCode>
                <c:ptCount val="4"/>
                <c:pt idx="0">
                  <c:v>22.314800000000002</c:v>
                </c:pt>
                <c:pt idx="2">
                  <c:v>15.19400000000000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8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Dollar Shave Club</c:v>
                </c:pt>
              </c:strCache>
            </c:strRef>
          </c:cat>
          <c:val>
            <c:numRef>
              <c:f>Sheet1!$M$2:$M$5</c:f>
              <c:numCache>
                <c:formatCode>General</c:formatCode>
                <c:ptCount val="4"/>
                <c:pt idx="0">
                  <c:v>29.710599999999999</c:v>
                </c:pt>
                <c:pt idx="1">
                  <c:v>17.107900000000001</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82EDC3B-AEAC-4E4A-935D-89F5855CA8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EC48A04-6730-48B7-8A53-A0C57717E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FA911A5-ABF2-4954-8D23-D1DDE0AFCF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E24FD25E-A330-4E53-8947-E4C2F85552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8B98258-AC92-4768-88A6-57F5FED4B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898387F-DE5A-487D-BDF3-B3158C16F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A5D5423-8745-4905-BD5C-D7B9B0ADA0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78D6529-BC85-4F85-A227-64A3C266B2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32</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7957</c:v>
                </c:pt>
                <c:pt idx="2">
                  <c:v>202579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Bic</c:v>
                </c:pt>
                <c:pt idx="3">
                  <c:v>Schick</c:v>
                </c:pt>
                <c:pt idx="4">
                  <c:v>Dollar Shave Club</c:v>
                </c:pt>
              </c:strCache>
            </c:strRef>
          </c:cat>
          <c:val>
            <c:numRef>
              <c:f>Sheet1!$B$2:$B$6</c:f>
              <c:numCache>
                <c:formatCode>General</c:formatCode>
                <c:ptCount val="5"/>
                <c:pt idx="0">
                  <c:v>36.667000000000002</c:v>
                </c:pt>
                <c:pt idx="1">
                  <c:v>23.9633</c:v>
                </c:pt>
                <c:pt idx="2">
                  <c:v>19.8873</c:v>
                </c:pt>
                <c:pt idx="3">
                  <c:v>26.196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Bic</c:v>
                </c:pt>
                <c:pt idx="3">
                  <c:v>Schick</c:v>
                </c:pt>
                <c:pt idx="4">
                  <c:v>Dollar Shave Club</c:v>
                </c:pt>
              </c:strCache>
            </c:strRef>
          </c:cat>
          <c:val>
            <c:numRef>
              <c:f>Sheet1!$C$2:$C$6</c:f>
              <c:numCache>
                <c:formatCode>General</c:formatCode>
                <c:ptCount val="5"/>
                <c:pt idx="0">
                  <c:v>14.483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Bic</c:v>
                </c:pt>
                <c:pt idx="3">
                  <c:v>Schick</c:v>
                </c:pt>
                <c:pt idx="4">
                  <c:v>Dollar Shave Club</c:v>
                </c:pt>
              </c:strCache>
            </c:strRef>
          </c:cat>
          <c:val>
            <c:numRef>
              <c:f>Sheet1!$D$2:$D$6</c:f>
              <c:numCache>
                <c:formatCode>General</c:formatCode>
                <c:ptCount val="5"/>
                <c:pt idx="0">
                  <c:v>12.678000000000001</c:v>
                </c:pt>
                <c:pt idx="1">
                  <c:v>11.0337</c:v>
                </c:pt>
                <c:pt idx="4">
                  <c:v>8.96449999999999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Bic</c:v>
                </c:pt>
                <c:pt idx="3">
                  <c:v>Schick</c:v>
                </c:pt>
                <c:pt idx="4">
                  <c:v>Dollar Shave Club</c:v>
                </c:pt>
              </c:strCache>
            </c:strRef>
          </c:cat>
          <c:val>
            <c:numRef>
              <c:f>Sheet1!$E$2:$E$6</c:f>
              <c:numCache>
                <c:formatCode>General</c:formatCode>
                <c:ptCount val="5"/>
                <c:pt idx="3">
                  <c:v>9.59019999999999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Bic</c:v>
                </c:pt>
                <c:pt idx="3">
                  <c:v>Schick</c:v>
                </c:pt>
                <c:pt idx="4">
                  <c:v>Dollar Shave Club</c:v>
                </c:pt>
              </c:strCache>
            </c:strRef>
          </c:cat>
          <c:val>
            <c:numRef>
              <c:f>Sheet1!$F$2:$F$6</c:f>
              <c:numCache>
                <c:formatCode>General</c:formatCode>
                <c:ptCount val="5"/>
                <c:pt idx="0">
                  <c:v>23.440300000000001</c:v>
                </c:pt>
                <c:pt idx="1">
                  <c:v>16.1880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Bic</c:v>
                </c:pt>
                <c:pt idx="3">
                  <c:v>Schick</c:v>
                </c:pt>
                <c:pt idx="4">
                  <c:v>Dollar Shave Club</c:v>
                </c:pt>
              </c:strCache>
            </c:strRef>
          </c:cat>
          <c:val>
            <c:numRef>
              <c:f>Sheet1!$G$2:$G$6</c:f>
              <c:numCache>
                <c:formatCode>General</c:formatCode>
                <c:ptCount val="5"/>
                <c:pt idx="0">
                  <c:v>22.3567</c:v>
                </c:pt>
                <c:pt idx="3">
                  <c:v>14.5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Bic</c:v>
                </c:pt>
                <c:pt idx="3">
                  <c:v>Schick</c:v>
                </c:pt>
                <c:pt idx="4">
                  <c:v>Dollar Shave Club</c:v>
                </c:pt>
              </c:strCache>
            </c:strRef>
          </c:cat>
          <c:val>
            <c:numRef>
              <c:f>Sheet1!$H$2:$H$6</c:f>
              <c:numCache>
                <c:formatCode>General</c:formatCode>
                <c:ptCount val="5"/>
                <c:pt idx="0">
                  <c:v>28.535599999999999</c:v>
                </c:pt>
                <c:pt idx="2">
                  <c:v>12.051299999999999</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B$2:$B$6</c:f>
              <c:numCache>
                <c:formatCode>General</c:formatCode>
                <c:ptCount val="5"/>
                <c:pt idx="0">
                  <c:v>10.687900000000001</c:v>
                </c:pt>
                <c:pt idx="1">
                  <c:v>4.6299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C$2:$C$6</c:f>
              <c:numCache>
                <c:formatCode>General</c:formatCode>
                <c:ptCount val="5"/>
                <c:pt idx="0">
                  <c:v>12.5274</c:v>
                </c:pt>
                <c:pt idx="1">
                  <c:v>3.7378</c:v>
                </c:pt>
                <c:pt idx="2">
                  <c:v>8.4027999999999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D$2:$D$6</c:f>
              <c:numCache>
                <c:formatCode>General</c:formatCode>
                <c:ptCount val="5"/>
                <c:pt idx="0">
                  <c:v>15.0417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E$2:$E$6</c:f>
              <c:numCache>
                <c:formatCode>General</c:formatCode>
                <c:ptCount val="5"/>
                <c:pt idx="0">
                  <c:v>14.8953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F$2:$F$6</c:f>
              <c:numCache>
                <c:formatCode>General</c:formatCode>
                <c:ptCount val="5"/>
                <c:pt idx="2">
                  <c:v>18.1865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1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G$2:$G$6</c:f>
              <c:numCache>
                <c:formatCode>General</c:formatCode>
                <c:ptCount val="5"/>
                <c:pt idx="0">
                  <c:v>20.5308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H$2:$H$6</c:f>
              <c:numCache>
                <c:formatCode>General</c:formatCode>
                <c:ptCount val="5"/>
                <c:pt idx="0">
                  <c:v>20.5812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I$2:$I$6</c:f>
              <c:numCache>
                <c:formatCode>General</c:formatCode>
                <c:ptCount val="5"/>
                <c:pt idx="0">
                  <c:v>10.191800000000001</c:v>
                </c:pt>
                <c:pt idx="1">
                  <c:v>6.1608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J$2:$J$6</c:f>
              <c:numCache>
                <c:formatCode>General</c:formatCode>
                <c:ptCount val="5"/>
                <c:pt idx="0">
                  <c:v>7.1174999999999997</c:v>
                </c:pt>
                <c:pt idx="1">
                  <c:v>6.5505000000000004</c:v>
                </c:pt>
                <c:pt idx="3">
                  <c:v>5.0495999999999999</c:v>
                </c:pt>
                <c:pt idx="4">
                  <c:v>5.991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2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K$2:$K$6</c:f>
              <c:numCache>
                <c:formatCode>General</c:formatCode>
                <c:ptCount val="5"/>
                <c:pt idx="0">
                  <c:v>31.26419999999999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CT</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L$2:$L$6</c:f>
              <c:numCache>
                <c:formatCode>General</c:formatCode>
                <c:ptCount val="5"/>
                <c:pt idx="1">
                  <c:v>5.100100000000000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7CT</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Bic</c:v>
                </c:pt>
                <c:pt idx="2">
                  <c:v>Schick</c:v>
                </c:pt>
                <c:pt idx="3">
                  <c:v>Equate</c:v>
                </c:pt>
                <c:pt idx="4">
                  <c:v>Pbg Pl</c:v>
                </c:pt>
              </c:strCache>
            </c:strRef>
          </c:cat>
          <c:val>
            <c:numRef>
              <c:f>Sheet1!$M$2:$M$6</c:f>
              <c:numCache>
                <c:formatCode>General</c:formatCode>
                <c:ptCount val="5"/>
                <c:pt idx="0">
                  <c:v>12.414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8CT</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Bic</c:v>
                </c:pt>
                <c:pt idx="2">
                  <c:v>Schick</c:v>
                </c:pt>
                <c:pt idx="3">
                  <c:v>Equate</c:v>
                </c:pt>
                <c:pt idx="4">
                  <c:v>Pbg Pl</c:v>
                </c:pt>
              </c:strCache>
            </c:strRef>
          </c:cat>
          <c:val>
            <c:numRef>
              <c:f>Sheet1!$N$2:$N$6</c:f>
              <c:numCache>
                <c:formatCode>General</c:formatCode>
                <c:ptCount val="5"/>
                <c:pt idx="1">
                  <c:v>5.5366999999999997</c:v>
                </c:pt>
                <c:pt idx="2">
                  <c:v>11.323399999999999</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B$2:$B$5</c:f>
              <c:numCache>
                <c:formatCode>General</c:formatCode>
                <c:ptCount val="4"/>
                <c:pt idx="0">
                  <c:v>10.2883</c:v>
                </c:pt>
                <c:pt idx="1">
                  <c:v>5.882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C$2:$C$5</c:f>
              <c:numCache>
                <c:formatCode>General</c:formatCode>
                <c:ptCount val="4"/>
                <c:pt idx="0">
                  <c:v>11.7058</c:v>
                </c:pt>
                <c:pt idx="1">
                  <c:v>3.4321999999999999</c:v>
                </c:pt>
                <c:pt idx="2">
                  <c:v>2.1772999999999998</c:v>
                </c:pt>
                <c:pt idx="3">
                  <c:v>8.482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D$2:$D$5</c:f>
              <c:numCache>
                <c:formatCode>General</c:formatCode>
                <c:ptCount val="4"/>
                <c:pt idx="0">
                  <c:v>15.012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E$2:$E$5</c:f>
              <c:numCache>
                <c:formatCode>General</c:formatCode>
                <c:ptCount val="4"/>
                <c:pt idx="0">
                  <c:v>14.99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1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F$2:$F$5</c:f>
              <c:numCache>
                <c:formatCode>General</c:formatCode>
                <c:ptCount val="4"/>
                <c:pt idx="0">
                  <c:v>20.06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G$2:$G$5</c:f>
              <c:numCache>
                <c:formatCode>General</c:formatCode>
                <c:ptCount val="4"/>
                <c:pt idx="0">
                  <c:v>19.9608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H$2:$H$5</c:f>
              <c:numCache>
                <c:formatCode>General</c:formatCode>
                <c:ptCount val="4"/>
                <c:pt idx="1">
                  <c:v>6.0476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I$2:$I$5</c:f>
              <c:numCache>
                <c:formatCode>General</c:formatCode>
                <c:ptCount val="4"/>
                <c:pt idx="0">
                  <c:v>6.9634999999999998</c:v>
                </c:pt>
                <c:pt idx="1">
                  <c:v>6.4462000000000002</c:v>
                </c:pt>
                <c:pt idx="2">
                  <c:v>5.04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5CT</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Bic</c:v>
                </c:pt>
                <c:pt idx="2">
                  <c:v>Equate</c:v>
                </c:pt>
                <c:pt idx="3">
                  <c:v>Schick</c:v>
                </c:pt>
              </c:strCache>
            </c:strRef>
          </c:cat>
          <c:val>
            <c:numRef>
              <c:f>Sheet1!$J$2:$J$5</c:f>
              <c:numCache>
                <c:formatCode>General</c:formatCode>
                <c:ptCount val="4"/>
                <c:pt idx="1">
                  <c:v>4.9180999999999999</c:v>
                </c:pt>
                <c:pt idx="2">
                  <c:v>1.0034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6CT</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Bic</c:v>
                </c:pt>
                <c:pt idx="2">
                  <c:v>Equate</c:v>
                </c:pt>
                <c:pt idx="3">
                  <c:v>Schick</c:v>
                </c:pt>
              </c:strCache>
            </c:strRef>
          </c:cat>
          <c:val>
            <c:numRef>
              <c:f>Sheet1!$K$2:$K$5</c:f>
              <c:numCache>
                <c:formatCode>General</c:formatCode>
                <c:ptCount val="4"/>
                <c:pt idx="0">
                  <c:v>13.06279999999999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B$2:$B$6</c:f>
              <c:numCache>
                <c:formatCode>General</c:formatCode>
                <c:ptCount val="5"/>
                <c:pt idx="0">
                  <c:v>44.3502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C$2:$C$6</c:f>
              <c:numCache>
                <c:formatCode>General</c:formatCode>
                <c:ptCount val="5"/>
                <c:pt idx="0">
                  <c:v>12.85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D$2:$D$6</c:f>
              <c:numCache>
                <c:formatCode>General</c:formatCode>
                <c:ptCount val="5"/>
                <c:pt idx="1">
                  <c:v>10.814399999999999</c:v>
                </c:pt>
                <c:pt idx="3">
                  <c:v>9.103799999999999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E$2:$E$6</c:f>
              <c:numCache>
                <c:formatCode>General</c:formatCode>
                <c:ptCount val="5"/>
                <c:pt idx="0">
                  <c:v>12.9552</c:v>
                </c:pt>
                <c:pt idx="2">
                  <c:v>10.1758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F$2:$F$6</c:f>
              <c:numCache>
                <c:formatCode>General</c:formatCode>
                <c:ptCount val="5"/>
                <c:pt idx="0">
                  <c:v>23.483899999999998</c:v>
                </c:pt>
                <c:pt idx="1">
                  <c:v>16.775700000000001</c:v>
                </c:pt>
                <c:pt idx="4">
                  <c:v>18.1746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G$2:$G$6</c:f>
              <c:numCache>
                <c:formatCode>General</c:formatCode>
                <c:ptCount val="5"/>
                <c:pt idx="0">
                  <c:v>21.030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7CT</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H$2:$H$6</c:f>
              <c:numCache>
                <c:formatCode>General</c:formatCode>
                <c:ptCount val="5"/>
                <c:pt idx="0">
                  <c:v>28.5343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9CT</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I$2:$I$6</c:f>
              <c:numCache>
                <c:formatCode>General</c:formatCode>
                <c:ptCount val="5"/>
                <c:pt idx="0">
                  <c:v>28.91410000000000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Gillette</c:v>
                </c:pt>
                <c:pt idx="1">
                  <c:v>Harry's</c:v>
                </c:pt>
                <c:pt idx="2">
                  <c:v>Schick</c:v>
                </c:pt>
                <c:pt idx="3">
                  <c:v>Van Der Hagen</c:v>
                </c:pt>
              </c:strCache>
            </c:strRef>
          </c:cat>
          <c:val>
            <c:numRef>
              <c:f>Sheet1!$B$2:$B$5</c:f>
              <c:numCache>
                <c:formatCode>General</c:formatCode>
                <c:ptCount val="4"/>
                <c:pt idx="0">
                  <c:v>14.483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C$2:$C$5</c:f>
              <c:numCache>
                <c:formatCode>General</c:formatCode>
                <c:ptCount val="4"/>
                <c:pt idx="0">
                  <c:v>12.661199999999999</c:v>
                </c:pt>
                <c:pt idx="2">
                  <c:v>9.591900000000000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D$2:$D$5</c:f>
              <c:numCache>
                <c:formatCode>General</c:formatCode>
                <c:ptCount val="4"/>
                <c:pt idx="1">
                  <c:v>16.188099999999999</c:v>
                </c:pt>
                <c:pt idx="3">
                  <c:v>17.9598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E$2:$E$5</c:f>
              <c:numCache>
                <c:formatCode>General</c:formatCode>
                <c:ptCount val="4"/>
                <c:pt idx="0">
                  <c:v>20.9216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Gillette</c:v>
                </c:pt>
                <c:pt idx="1">
                  <c:v>Harry's</c:v>
                </c:pt>
                <c:pt idx="2">
                  <c:v>Schick</c:v>
                </c:pt>
                <c:pt idx="3">
                  <c:v>Van Der Hagen</c:v>
                </c:pt>
              </c:strCache>
            </c:strRef>
          </c:cat>
          <c:val>
            <c:numRef>
              <c:f>Sheet1!$F$2:$F$5</c:f>
              <c:numCache>
                <c:formatCode>General</c:formatCode>
                <c:ptCount val="4"/>
                <c:pt idx="0">
                  <c:v>28.53559999999999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Harry's</c:v>
                </c:pt>
                <c:pt idx="2">
                  <c:v>Schick</c:v>
                </c:pt>
              </c:strCache>
            </c:strRef>
          </c:cat>
          <c:val>
            <c:numRef>
              <c:f>Sheet1!$B$2:$B$4</c:f>
              <c:numCache>
                <c:formatCode>General</c:formatCode>
                <c:ptCount val="3"/>
                <c:pt idx="0">
                  <c:v>26.9189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Schick</c:v>
                </c:pt>
              </c:strCache>
            </c:strRef>
          </c:cat>
          <c:val>
            <c:numRef>
              <c:f>Sheet1!$C$2:$C$4</c:f>
              <c:numCache>
                <c:formatCode>General</c:formatCode>
                <c:ptCount val="3"/>
                <c:pt idx="0">
                  <c:v>39.3748</c:v>
                </c:pt>
                <c:pt idx="1">
                  <c:v>24.325600000000001</c:v>
                </c:pt>
                <c:pt idx="2">
                  <c:v>25.8587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Schick</c:v>
                </c:pt>
              </c:strCache>
            </c:strRef>
          </c:cat>
          <c:val>
            <c:numRef>
              <c:f>Sheet1!$D$2:$D$4</c:f>
              <c:numCache>
                <c:formatCode>General</c:formatCode>
                <c:ptCount val="3"/>
                <c:pt idx="0">
                  <c:v>35.7867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Schick</c:v>
                </c:pt>
              </c:strCache>
            </c:strRef>
          </c:cat>
          <c:val>
            <c:numRef>
              <c:f>Sheet1!$E$2:$E$4</c:f>
              <c:numCache>
                <c:formatCode>General</c:formatCode>
                <c:ptCount val="3"/>
                <c:pt idx="0">
                  <c:v>39.3269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CT</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Gillette</c:v>
                </c:pt>
                <c:pt idx="1">
                  <c:v>Harry's</c:v>
                </c:pt>
                <c:pt idx="2">
                  <c:v>Schick</c:v>
                </c:pt>
              </c:strCache>
            </c:strRef>
          </c:cat>
          <c:val>
            <c:numRef>
              <c:f>Sheet1!$F$2:$F$4</c:f>
              <c:numCache>
                <c:formatCode>General</c:formatCode>
                <c:ptCount val="3"/>
                <c:pt idx="0">
                  <c:v>36.7411000000000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6CT</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Gillette</c:v>
                </c:pt>
                <c:pt idx="1">
                  <c:v>Harry's</c:v>
                </c:pt>
                <c:pt idx="2">
                  <c:v>Schick</c:v>
                </c:pt>
              </c:strCache>
            </c:strRef>
          </c:cat>
          <c:val>
            <c:numRef>
              <c:f>Sheet1!$G$2:$G$4</c:f>
              <c:numCache>
                <c:formatCode>General</c:formatCode>
                <c:ptCount val="3"/>
                <c:pt idx="2">
                  <c:v>15.19400000000000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8CT</c:v>
                </c:pt>
              </c:strCache>
            </c:strRef>
          </c:tx>
          <c:spPr>
            <a:ln w="19050">
              <a:noFill/>
            </a:ln>
          </c:spPr>
          <c:marker>
            <c:symbol val="dash"/>
            <c:size val="20"/>
            <c:spPr>
              <a:solidFill>
                <a:schemeClr val="accent6">
                  <a:lumMod val="60000"/>
                  <a:lumOff val="40000"/>
                </a:schemeClr>
              </a:solidFill>
              <a:ln w="9525">
                <a:noFill/>
              </a:ln>
              <a:effectLst/>
            </c:spPr>
          </c:marker>
          <c:cat>
            <c:strRef>
              <c:f>Sheet1!$A$2:$A$4</c:f>
              <c:strCache>
                <c:ptCount val="3"/>
                <c:pt idx="0">
                  <c:v>Gillette</c:v>
                </c:pt>
                <c:pt idx="1">
                  <c:v>Harry's</c:v>
                </c:pt>
                <c:pt idx="2">
                  <c:v>Schick</c:v>
                </c:pt>
              </c:strCache>
            </c:strRef>
          </c:cat>
          <c:val>
            <c:numRef>
              <c:f>Sheet1!$H$2:$H$4</c:f>
              <c:numCache>
                <c:formatCode>General</c:formatCode>
                <c:ptCount val="3"/>
                <c:pt idx="0">
                  <c:v>29.696899999999999</c:v>
                </c:pt>
                <c:pt idx="1">
                  <c:v>17.107900000000001</c:v>
                </c:pt>
              </c:numCache>
            </c:numRef>
          </c:val>
          <c:smooth val="0"/>
          <c:extLst>
            <c:ext xmlns:c16="http://schemas.microsoft.com/office/drawing/2014/chart" uri="{C3380CC4-5D6E-409C-BE32-E72D297353CC}">
              <c16:uniqueId val="{0000000E-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CT</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Gillette</c:v>
                </c:pt>
                <c:pt idx="1">
                  <c:v>Harry's</c:v>
                </c:pt>
                <c:pt idx="2">
                  <c:v>Schick</c:v>
                </c:pt>
                <c:pt idx="3">
                  <c:v>Dollar Shave Club</c:v>
                </c:pt>
                <c:pt idx="4">
                  <c:v>Van Der Hagen</c:v>
                </c:pt>
              </c:strCache>
            </c:strRef>
          </c:cat>
          <c:val>
            <c:numRef>
              <c:f>Sheet1!$B$2:$B$6</c:f>
              <c:numCache>
                <c:formatCode>General</c:formatCode>
                <c:ptCount val="5"/>
                <c:pt idx="4">
                  <c:v>2.9809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CT</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C$2:$C$6</c:f>
              <c:numCache>
                <c:formatCode>General</c:formatCode>
                <c:ptCount val="5"/>
                <c:pt idx="0">
                  <c:v>36.667000000000002</c:v>
                </c:pt>
                <c:pt idx="1">
                  <c:v>23.9633</c:v>
                </c:pt>
                <c:pt idx="2">
                  <c:v>26.196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6CT</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D$2:$D$6</c:f>
              <c:numCache>
                <c:formatCode>General</c:formatCode>
                <c:ptCount val="5"/>
                <c:pt idx="2">
                  <c:v>14.58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8CT</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Gillette</c:v>
                </c:pt>
                <c:pt idx="1">
                  <c:v>Harry's</c:v>
                </c:pt>
                <c:pt idx="2">
                  <c:v>Schick</c:v>
                </c:pt>
                <c:pt idx="3">
                  <c:v>Dollar Shave Club</c:v>
                </c:pt>
                <c:pt idx="4">
                  <c:v>Van Der Hagen</c:v>
                </c:pt>
              </c:strCache>
            </c:strRef>
          </c:cat>
          <c:val>
            <c:numRef>
              <c:f>Sheet1!$E$2:$E$6</c:f>
              <c:numCache>
                <c:formatCode>General</c:formatCode>
                <c:ptCount val="5"/>
                <c:pt idx="3">
                  <c:v>16.913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9176018-5124-4A86-997E-A1576D4E0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E03A5B-DBA5-4318-A9DB-68225A578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3D7E65F-213A-406D-8107-D28C05554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7F0A81D-548E-4D4F-A38A-85A6D122B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8306879-DA6B-4666-B5AD-139FDAF64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5ED4B0F-5031-4CD5-9783-1F3D7B07A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E7000F0-0D20-4618-AE13-2DB795CD32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16327F0-0A8F-405C-9B61-CA7F2BD677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7.5094000000000003</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0.56799999999999995</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660782-2C93-4457-99E2-D159CC77F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E4030CA-B82A-46A1-8C47-4028A9EBC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1ABE822-1212-485B-847B-55F6D48B14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46A21C4-AEE4-4B60-A69B-0878A6DA2A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6350C74-E663-4E16-B708-E5E6DB696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01814F-1AAE-46E6-8E39-520F57F67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1097217-3043-450B-8139-D80929AB4F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338FCB5-D531-4BE7-BE21-7EFB21BF27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7.37</c:v>
                </c:pt>
                <c:pt idx="7">
                  <c:v>6.1635</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32800000000000001</c:v>
                </c:pt>
                <c:pt idx="7">
                  <c:v>0.26700000000000002</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1189074</c:v>
                </c:pt>
                <c:pt idx="7">
                  <c:v>10890684</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Comfort 3</c:v>
                  </c:pt>
                  <c:pt idx="7">
                    <c:v>Van Der Hage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7B2754-DBA8-440D-8555-2D2F3B08CD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5B9A3AE-F2C0-48FB-A097-7B1C02134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329033D8-45FE-4846-9037-2C74A07E4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DAA23A3-8C1F-435A-BE61-A2547A3B42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67204496-1E3B-4376-AC8C-3CDCA1D33B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8D97E4D-C99A-417E-B73E-6C1AC836A3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490E180-71EC-417D-94D8-069D89752B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D45DD0C-96FA-4F2C-AC28-C20DC3A895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Gillett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B604C48-F0AE-4C11-837F-695AD381F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5F535E-2D33-4301-A039-05E675BFC2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A172BD6-D419-4820-AB40-556FA94EA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657C2D-6326-4BC8-8E94-0DABEAE4B9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CC9834D-57F4-4091-BBAA-B3437118D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607580A-410F-4E4B-A264-E8F829E7C5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7B327CE-2493-4E6F-8D05-CF06225831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311B7BE-507F-427C-A974-9E240971B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7.5094000000000003</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0.33900000000000002</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5209748</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omfort 3</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1F9FAF5-FEBF-4005-9807-1E92697AE8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D9B1298-BDAB-4A9A-AAC5-D4A78F50D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F35C10-FE9C-4E6E-9F0C-E5DCC01B3D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74A1D44-8689-4DE5-9576-C718CAFB3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D0CB6F-30CA-4CAF-8A6B-D57177B16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B0AC1A-A2F3-43A0-B139-15FBF7196B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57F7BC-B5B1-4E56-86DE-28FED429AC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91FE52-F3EF-434B-B415-9F1DE9625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E40DD6-0CA8-42CE-B980-341039B1D5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7D6DFE-B70D-4C9D-997D-C4453B6116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9A6F2CB-23EE-4E2A-B855-5EACB4238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FEBC131F-20C9-41EC-A614-CBD8B93182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0A8986E-CA6C-4AF2-8D2B-E25DBDE544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E548400-DB34-4A83-8F2D-CBAB0F538B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1CB0A22-87FC-47A3-B8F9-2CACF6CB84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4C2208-84E4-45CD-A9B7-3776E9FB22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E0EB70-E69D-4097-9EC5-53C4EBDDB7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08828E-F567-4D4C-A098-9E7DECDFB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45B847A-E3E6-442D-92CD-99B2FE34C9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F7A5E3F-E405-4588-9757-BC8993A19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6776B9C-C53F-4523-B152-E98DE11C77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9141F23-0450-4447-826B-7792B5FDBA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7DDCFAD-10D9-471A-A3EF-01BEA2982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D10F261-5B42-4628-9F90-0BD3C21AE2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16.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415922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61211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097753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650950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855334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22219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1433644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00969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14122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6898206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9471550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330707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133794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9682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936382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32281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09075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724200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3722139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041448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71771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6/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Dollar Shave Club</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Van Der Hage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72235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35608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Bj's And Sam's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18442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Manual Shave Me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98799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410929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System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1488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57087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Disposable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8807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054590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32275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679958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azor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964691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56187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6/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Walmart | Refil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35866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17204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805320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9548475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29134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611640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785682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3297073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56856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91548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1956457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6/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9198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33373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2872</Words>
  <Application>Microsoft Office PowerPoint</Application>
  <PresentationFormat>On-screen Show (16:9)</PresentationFormat>
  <Paragraphs>765</Paragraphs>
  <Slides>3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4</cp:revision>
  <dcterms:created xsi:type="dcterms:W3CDTF">2024-07-05T14:56:51Z</dcterms:created>
  <dcterms:modified xsi:type="dcterms:W3CDTF">2025-08-06T08:0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